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028079C5-1C0E-4272-ABF8-714A01158688}">
          <p14:sldIdLst>
            <p14:sldId id="2147475173"/>
            <p14:sldId id="2147475174"/>
            <p14:sldId id="2147475175"/>
            <p14:sldId id="2147475176"/>
            <p14:sldId id="2147475177"/>
            <p14:sldId id="2147475178"/>
          </p14:sldIdLst>
        </p14:section>
        <p14:section name="Brackets By Retailer By Sector" id="{BD90F3E3-A5B9-4BF3-99E7-0D45EFE1BB2F}">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A8584647-A5F1-4B2D-BE61-485815C1A46F}">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7901001157398E-2</c:v>
                </c:pt>
                <c:pt idx="1">
                  <c:v>1.6357704156459721E-2</c:v>
                </c:pt>
                <c:pt idx="2">
                  <c:v>2.8302490935711529E-2</c:v>
                </c:pt>
                <c:pt idx="3">
                  <c:v>4.2301193686235687E-2</c:v>
                </c:pt>
                <c:pt idx="4">
                  <c:v>8.7005975729223459E-2</c:v>
                </c:pt>
                <c:pt idx="5">
                  <c:v>9.6086658000910513E-2</c:v>
                </c:pt>
                <c:pt idx="6">
                  <c:v>0.11481564554959318</c:v>
                </c:pt>
                <c:pt idx="7">
                  <c:v>0.16444298417770556</c:v>
                </c:pt>
                <c:pt idx="8">
                  <c:v>0.2120085005494714</c:v>
                </c:pt>
                <c:pt idx="9">
                  <c:v>0.11609744764373198</c:v>
                </c:pt>
                <c:pt idx="10">
                  <c:v>6.050349856979948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0401641215212906E-2</c:v>
                </c:pt>
                <c:pt idx="4">
                  <c:v>2.5501673259900166E-3</c:v>
                </c:pt>
                <c:pt idx="5">
                  <c:v>3.5556965300212423E-3</c:v>
                </c:pt>
                <c:pt idx="6">
                  <c:v>1.7860739078562468E-3</c:v>
                </c:pt>
                <c:pt idx="7">
                  <c:v>4.2072883066502989E-3</c:v>
                </c:pt>
                <c:pt idx="8">
                  <c:v>1.2870907741153095E-3</c:v>
                </c:pt>
                <c:pt idx="9">
                  <c:v>2.435842119285573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9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14E-2</c:v>
                </c:pt>
                <c:pt idx="4">
                  <c:v>7.3599001227352384E-2</c:v>
                </c:pt>
                <c:pt idx="5">
                  <c:v>0.21666215265832334</c:v>
                </c:pt>
                <c:pt idx="6">
                  <c:v>0.35850197330543987</c:v>
                </c:pt>
                <c:pt idx="7">
                  <c:v>0.11680761238296966</c:v>
                </c:pt>
                <c:pt idx="8">
                  <c:v>4.7250813869102577E-2</c:v>
                </c:pt>
                <c:pt idx="9">
                  <c:v>2.29888518105873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2E-2</c:v>
                </c:pt>
                <c:pt idx="8">
                  <c:v>9.8827159824716446E-2</c:v>
                </c:pt>
                <c:pt idx="9">
                  <c:v>1.32518468488086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2E-2</c:v>
                </c:pt>
                <c:pt idx="3">
                  <c:v>3.8435745481682639E-2</c:v>
                </c:pt>
                <c:pt idx="4">
                  <c:v>9.221361436269071E-2</c:v>
                </c:pt>
                <c:pt idx="5">
                  <c:v>0.23543198442819938</c:v>
                </c:pt>
                <c:pt idx="6">
                  <c:v>0.18117729862300258</c:v>
                </c:pt>
                <c:pt idx="7">
                  <c:v>0.20368518910803782</c:v>
                </c:pt>
                <c:pt idx="8">
                  <c:v>9.7217979514334779E-2</c:v>
                </c:pt>
                <c:pt idx="9">
                  <c:v>2.85902206518969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8331266352525</c:v>
                </c:pt>
                <c:pt idx="1">
                  <c:v>1.2898740235923686E-2</c:v>
                </c:pt>
                <c:pt idx="2">
                  <c:v>1.7945797245864717E-2</c:v>
                </c:pt>
                <c:pt idx="3">
                  <c:v>2.9439778517212502E-2</c:v>
                </c:pt>
                <c:pt idx="4">
                  <c:v>9.6515302301864808E-2</c:v>
                </c:pt>
                <c:pt idx="5">
                  <c:v>8.4406928367194101E-2</c:v>
                </c:pt>
                <c:pt idx="6">
                  <c:v>0.18499548315225822</c:v>
                </c:pt>
                <c:pt idx="7">
                  <c:v>0.25423962509260389</c:v>
                </c:pt>
                <c:pt idx="8">
                  <c:v>0.10017514101023534</c:v>
                </c:pt>
                <c:pt idx="9">
                  <c:v>2.0524173093343596E-2</c:v>
                </c:pt>
                <c:pt idx="10">
                  <c:v>3.875718319973872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974831059355E-2</c:v>
                </c:pt>
                <c:pt idx="1">
                  <c:v>1.5471007476381237E-2</c:v>
                </c:pt>
                <c:pt idx="2">
                  <c:v>2.8116529382288598E-2</c:v>
                </c:pt>
                <c:pt idx="3">
                  <c:v>6.0924029525371806E-2</c:v>
                </c:pt>
                <c:pt idx="4">
                  <c:v>9.3187425528592355E-2</c:v>
                </c:pt>
                <c:pt idx="5">
                  <c:v>9.3289653501717223E-2</c:v>
                </c:pt>
                <c:pt idx="6">
                  <c:v>0.10624332582688127</c:v>
                </c:pt>
                <c:pt idx="7">
                  <c:v>0.17288833054716357</c:v>
                </c:pt>
                <c:pt idx="8">
                  <c:v>0.17090235363397566</c:v>
                </c:pt>
                <c:pt idx="9">
                  <c:v>0.13659252312310796</c:v>
                </c:pt>
                <c:pt idx="10">
                  <c:v>5.82150731439268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34E-2</c:v>
                </c:pt>
                <c:pt idx="5">
                  <c:v>0.11494751174683011</c:v>
                </c:pt>
                <c:pt idx="6">
                  <c:v>0.17365993639694649</c:v>
                </c:pt>
                <c:pt idx="7">
                  <c:v>0.17952376942204418</c:v>
                </c:pt>
                <c:pt idx="8">
                  <c:v>8.2893600058558198E-2</c:v>
                </c:pt>
                <c:pt idx="9">
                  <c:v>1.0852694598812915E-2</c:v>
                </c:pt>
                <c:pt idx="10">
                  <c:v>7.801829960868735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44784079699287</c:v>
                </c:pt>
                <c:pt idx="1">
                  <c:v>8.6392287917828828E-3</c:v>
                </c:pt>
                <c:pt idx="2">
                  <c:v>7.0227379730336608E-3</c:v>
                </c:pt>
                <c:pt idx="3">
                  <c:v>2.7032315135339206E-2</c:v>
                </c:pt>
                <c:pt idx="4">
                  <c:v>9.96247835885887E-2</c:v>
                </c:pt>
                <c:pt idx="5">
                  <c:v>8.0920570595953006E-2</c:v>
                </c:pt>
                <c:pt idx="6">
                  <c:v>0.20955945736429468</c:v>
                </c:pt>
                <c:pt idx="7">
                  <c:v>0.23817842059258379</c:v>
                </c:pt>
                <c:pt idx="8">
                  <c:v>0.13772118601552835</c:v>
                </c:pt>
                <c:pt idx="9">
                  <c:v>6.568136875285141E-2</c:v>
                </c:pt>
                <c:pt idx="10">
                  <c:v>1.417209039305146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8.2060798596221757E-2</c:v>
                </c:pt>
                <c:pt idx="4">
                  <c:v>1.3735802625934962E-2</c:v>
                </c:pt>
                <c:pt idx="5">
                  <c:v>6.1588706809217263E-2</c:v>
                </c:pt>
                <c:pt idx="6">
                  <c:v>2.3195070431785789E-2</c:v>
                </c:pt>
                <c:pt idx="7">
                  <c:v>5.9000565638160689E-2</c:v>
                </c:pt>
                <c:pt idx="8">
                  <c:v>2.463078463108609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13356059179014013</c:v>
                </c:pt>
                <c:pt idx="4">
                  <c:v>3.2745011116607166E-2</c:v>
                </c:pt>
                <c:pt idx="5">
                  <c:v>4.5656346239016515E-2</c:v>
                </c:pt>
                <c:pt idx="6">
                  <c:v>2.2933793156152984E-2</c:v>
                </c:pt>
                <c:pt idx="7">
                  <c:v>5.3053670560782258E-2</c:v>
                </c:pt>
                <c:pt idx="8">
                  <c:v>1.6505258068993306E-2</c:v>
                </c:pt>
                <c:pt idx="9">
                  <c:v>1.480468372668552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5570907579887137E-4</c:v>
                </c:pt>
                <c:pt idx="3">
                  <c:v>4.3055072351107443E-3</c:v>
                </c:pt>
                <c:pt idx="4">
                  <c:v>2.4985981994780546E-3</c:v>
                </c:pt>
                <c:pt idx="5">
                  <c:v>1.8948968970152788E-3</c:v>
                </c:pt>
                <c:pt idx="6">
                  <c:v>5.6882219431843046E-4</c:v>
                </c:pt>
                <c:pt idx="7">
                  <c:v>4.9272250286147949E-3</c:v>
                </c:pt>
                <c:pt idx="8">
                  <c:v>7.6335155633749431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29E-2</c:v>
                </c:pt>
                <c:pt idx="6">
                  <c:v>0.14927955263464024</c:v>
                </c:pt>
                <c:pt idx="7">
                  <c:v>0.13229106377391028</c:v>
                </c:pt>
                <c:pt idx="8">
                  <c:v>0.31299472077907148</c:v>
                </c:pt>
                <c:pt idx="9">
                  <c:v>0.14351243301228028</c:v>
                </c:pt>
                <c:pt idx="10">
                  <c:v>0.113249018585458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73E-3</c:v>
                </c:pt>
                <c:pt idx="3">
                  <c:v>7.5681685289260239E-2</c:v>
                </c:pt>
                <c:pt idx="4">
                  <c:v>2.5426936831280101E-2</c:v>
                </c:pt>
                <c:pt idx="5">
                  <c:v>9.4771840334443316E-2</c:v>
                </c:pt>
                <c:pt idx="6">
                  <c:v>0.12889598069765412</c:v>
                </c:pt>
                <c:pt idx="7">
                  <c:v>0.13425471229470909</c:v>
                </c:pt>
                <c:pt idx="8">
                  <c:v>0.32909591222530005</c:v>
                </c:pt>
                <c:pt idx="9">
                  <c:v>0.10836522028352404</c:v>
                </c:pt>
                <c:pt idx="10">
                  <c:v>9.28176975723109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301E-2</c:v>
                </c:pt>
                <c:pt idx="6">
                  <c:v>0.10564996279910281</c:v>
                </c:pt>
                <c:pt idx="7">
                  <c:v>0.20914003576282764</c:v>
                </c:pt>
                <c:pt idx="8">
                  <c:v>0.18189208301942125</c:v>
                </c:pt>
                <c:pt idx="9">
                  <c:v>5.0891551137366327E-2</c:v>
                </c:pt>
                <c:pt idx="10">
                  <c:v>0.243116222782500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51E-2</c:v>
                </c:pt>
                <c:pt idx="5">
                  <c:v>0.10756737889583758</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7901001157398E-2</c:v>
                </c:pt>
                <c:pt idx="1">
                  <c:v>1.6357704156459721E-2</c:v>
                </c:pt>
                <c:pt idx="2">
                  <c:v>2.8302490935711529E-2</c:v>
                </c:pt>
                <c:pt idx="3">
                  <c:v>4.2301193686235687E-2</c:v>
                </c:pt>
                <c:pt idx="4">
                  <c:v>8.7005975729223459E-2</c:v>
                </c:pt>
                <c:pt idx="5">
                  <c:v>9.6086658000910513E-2</c:v>
                </c:pt>
                <c:pt idx="6">
                  <c:v>0.11481564554959318</c:v>
                </c:pt>
                <c:pt idx="7">
                  <c:v>0.16444298417770556</c:v>
                </c:pt>
                <c:pt idx="8">
                  <c:v>0.2120085005494714</c:v>
                </c:pt>
                <c:pt idx="9">
                  <c:v>0.11609744764373198</c:v>
                </c:pt>
                <c:pt idx="10">
                  <c:v>6.050349856979948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E-2</c:v>
                </c:pt>
                <c:pt idx="5">
                  <c:v>8.1603425497824303E-2</c:v>
                </c:pt>
                <c:pt idx="6">
                  <c:v>0.1229698551242565</c:v>
                </c:pt>
                <c:pt idx="7">
                  <c:v>0.20932020763186437</c:v>
                </c:pt>
                <c:pt idx="8">
                  <c:v>0.14848773889644468</c:v>
                </c:pt>
                <c:pt idx="9">
                  <c:v>0.13344545786542822</c:v>
                </c:pt>
                <c:pt idx="10">
                  <c:v>0.1593202145551093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91E-2</c:v>
                </c:pt>
                <c:pt idx="2">
                  <c:v>1.0825272627964894E-2</c:v>
                </c:pt>
                <c:pt idx="3">
                  <c:v>1.3085022230190355E-2</c:v>
                </c:pt>
                <c:pt idx="4">
                  <c:v>2.27156576849857E-2</c:v>
                </c:pt>
                <c:pt idx="5">
                  <c:v>0.15241475836441309</c:v>
                </c:pt>
                <c:pt idx="6">
                  <c:v>0.1326046133269136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4</c:v>
                </c:pt>
                <c:pt idx="10">
                  <c:v>6.439327363122094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4</c:v>
                </c:pt>
                <c:pt idx="9">
                  <c:v>0.13202397008973618</c:v>
                </c:pt>
                <c:pt idx="10">
                  <c:v>6.87864678492081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8E-2</c:v>
                </c:pt>
                <c:pt idx="4">
                  <c:v>5.2557201124251982E-2</c:v>
                </c:pt>
                <c:pt idx="5">
                  <c:v>6.3701696813513009E-2</c:v>
                </c:pt>
                <c:pt idx="6">
                  <c:v>0.13085829476746524</c:v>
                </c:pt>
                <c:pt idx="7">
                  <c:v>0.17790741654622319</c:v>
                </c:pt>
                <c:pt idx="8">
                  <c:v>0.38182493017031222</c:v>
                </c:pt>
                <c:pt idx="9">
                  <c:v>7.1585046101095867E-2</c:v>
                </c:pt>
                <c:pt idx="10">
                  <c:v>2.83020879701327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0272620660629522E-3</c:v>
                </c:pt>
                <c:pt idx="6">
                  <c:v>1.0604946733321584E-3</c:v>
                </c:pt>
                <c:pt idx="7">
                  <c:v>2.3717787570514855E-3</c:v>
                </c:pt>
                <c:pt idx="8">
                  <c:v>6.0714307240521733E-3</c:v>
                </c:pt>
                <c:pt idx="9">
                  <c:v>6.2350712986322101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9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14E-2</c:v>
                </c:pt>
                <c:pt idx="4">
                  <c:v>7.3599001227352384E-2</c:v>
                </c:pt>
                <c:pt idx="5">
                  <c:v>0.21666215265832334</c:v>
                </c:pt>
                <c:pt idx="6">
                  <c:v>0.35850197330543987</c:v>
                </c:pt>
                <c:pt idx="7">
                  <c:v>0.11680761238296966</c:v>
                </c:pt>
                <c:pt idx="8">
                  <c:v>4.7250813869102577E-2</c:v>
                </c:pt>
                <c:pt idx="9">
                  <c:v>2.29888518105873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2E-2</c:v>
                </c:pt>
                <c:pt idx="8">
                  <c:v>9.8827159824716446E-2</c:v>
                </c:pt>
                <c:pt idx="9">
                  <c:v>1.32518468488086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2E-2</c:v>
                </c:pt>
                <c:pt idx="3">
                  <c:v>3.8435745481682639E-2</c:v>
                </c:pt>
                <c:pt idx="4">
                  <c:v>9.221361436269071E-2</c:v>
                </c:pt>
                <c:pt idx="5">
                  <c:v>0.23543198442819938</c:v>
                </c:pt>
                <c:pt idx="6">
                  <c:v>0.18117729862300258</c:v>
                </c:pt>
                <c:pt idx="7">
                  <c:v>0.20368518910803782</c:v>
                </c:pt>
                <c:pt idx="8">
                  <c:v>9.7217979514334779E-2</c:v>
                </c:pt>
                <c:pt idx="9">
                  <c:v>2.85902206518969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496E-2</c:v>
                </c:pt>
                <c:pt idx="1">
                  <c:v>2.762093286417321E-2</c:v>
                </c:pt>
                <c:pt idx="2">
                  <c:v>3.321975086399976E-2</c:v>
                </c:pt>
                <c:pt idx="3">
                  <c:v>5.0673883901639502E-2</c:v>
                </c:pt>
                <c:pt idx="4">
                  <c:v>8.0498478937970977E-2</c:v>
                </c:pt>
                <c:pt idx="5">
                  <c:v>0.11300954238676618</c:v>
                </c:pt>
                <c:pt idx="6">
                  <c:v>0.13054828460312656</c:v>
                </c:pt>
                <c:pt idx="7">
                  <c:v>0.16999688993527617</c:v>
                </c:pt>
                <c:pt idx="8">
                  <c:v>0.17596357403605911</c:v>
                </c:pt>
                <c:pt idx="9">
                  <c:v>0.1247508482589552</c:v>
                </c:pt>
                <c:pt idx="10">
                  <c:v>2.30206666653028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8331266352525</c:v>
                </c:pt>
                <c:pt idx="1">
                  <c:v>1.2898740235923686E-2</c:v>
                </c:pt>
                <c:pt idx="2">
                  <c:v>1.7945797245864717E-2</c:v>
                </c:pt>
                <c:pt idx="3">
                  <c:v>2.9439778517212502E-2</c:v>
                </c:pt>
                <c:pt idx="4">
                  <c:v>9.6515302301864808E-2</c:v>
                </c:pt>
                <c:pt idx="5">
                  <c:v>8.4406928367194101E-2</c:v>
                </c:pt>
                <c:pt idx="6">
                  <c:v>0.18499548315225822</c:v>
                </c:pt>
                <c:pt idx="7">
                  <c:v>0.25423962509260389</c:v>
                </c:pt>
                <c:pt idx="8">
                  <c:v>0.10017514101023534</c:v>
                </c:pt>
                <c:pt idx="9">
                  <c:v>2.0524173093343596E-2</c:v>
                </c:pt>
                <c:pt idx="10">
                  <c:v>3.875718319973872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34E-2</c:v>
                </c:pt>
                <c:pt idx="5">
                  <c:v>0.11494751174683011</c:v>
                </c:pt>
                <c:pt idx="6">
                  <c:v>0.17365993639694649</c:v>
                </c:pt>
                <c:pt idx="7">
                  <c:v>0.17952376942204418</c:v>
                </c:pt>
                <c:pt idx="8">
                  <c:v>8.2893600058558198E-2</c:v>
                </c:pt>
                <c:pt idx="9">
                  <c:v>1.0852694598812915E-2</c:v>
                </c:pt>
                <c:pt idx="10">
                  <c:v>7.801829960868735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44784079699287</c:v>
                </c:pt>
                <c:pt idx="1">
                  <c:v>8.6392287917828828E-3</c:v>
                </c:pt>
                <c:pt idx="2">
                  <c:v>7.0227379730336608E-3</c:v>
                </c:pt>
                <c:pt idx="3">
                  <c:v>2.7032315135339206E-2</c:v>
                </c:pt>
                <c:pt idx="4">
                  <c:v>9.96247835885887E-2</c:v>
                </c:pt>
                <c:pt idx="5">
                  <c:v>8.0920570595953006E-2</c:v>
                </c:pt>
                <c:pt idx="6">
                  <c:v>0.20955945736429468</c:v>
                </c:pt>
                <c:pt idx="7">
                  <c:v>0.23817842059258379</c:v>
                </c:pt>
                <c:pt idx="8">
                  <c:v>0.13772118601552835</c:v>
                </c:pt>
                <c:pt idx="9">
                  <c:v>6.568136875285141E-2</c:v>
                </c:pt>
                <c:pt idx="10">
                  <c:v>1.417209039305146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4172512273142985E-3</c:v>
                </c:pt>
                <c:pt idx="6">
                  <c:v>2.4872310522562045E-3</c:v>
                </c:pt>
                <c:pt idx="7">
                  <c:v>4.6678336585636963E-3</c:v>
                </c:pt>
                <c:pt idx="8">
                  <c:v>5.3888630087720879E-3</c:v>
                </c:pt>
                <c:pt idx="9">
                  <c:v>8.2185788783270053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29E-2</c:v>
                </c:pt>
                <c:pt idx="6">
                  <c:v>0.14927955263464024</c:v>
                </c:pt>
                <c:pt idx="7">
                  <c:v>0.13229106377391028</c:v>
                </c:pt>
                <c:pt idx="8">
                  <c:v>0.31299472077907148</c:v>
                </c:pt>
                <c:pt idx="9">
                  <c:v>0.14351243301228028</c:v>
                </c:pt>
                <c:pt idx="10">
                  <c:v>0.113249018585458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625546990269144E-3</c:v>
                </c:pt>
                <c:pt idx="6">
                  <c:v>1.1454780717940091E-2</c:v>
                </c:pt>
                <c:pt idx="7">
                  <c:v>2.2883222378001097E-2</c:v>
                </c:pt>
                <c:pt idx="8">
                  <c:v>5.329542368167689E-2</c:v>
                </c:pt>
                <c:pt idx="9">
                  <c:v>7.2519363217122216E-3</c:v>
                </c:pt>
                <c:pt idx="10">
                  <c:v>8.0130730057553258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4.3846185497573254E-3</c:v>
                </c:pt>
                <c:pt idx="6">
                  <c:v>1.6601237523760515E-2</c:v>
                </c:pt>
                <c:pt idx="7">
                  <c:v>4.2002967665951234E-2</c:v>
                </c:pt>
                <c:pt idx="8">
                  <c:v>3.5748879507964147E-2</c:v>
                </c:pt>
                <c:pt idx="9">
                  <c:v>8.9923057186475225E-3</c:v>
                </c:pt>
                <c:pt idx="10">
                  <c:v>1.076608769049459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73E-3</c:v>
                </c:pt>
                <c:pt idx="3">
                  <c:v>7.5681685289260239E-2</c:v>
                </c:pt>
                <c:pt idx="4">
                  <c:v>2.5426936831280101E-2</c:v>
                </c:pt>
                <c:pt idx="5">
                  <c:v>9.4771840334443316E-2</c:v>
                </c:pt>
                <c:pt idx="6">
                  <c:v>0.12889598069765412</c:v>
                </c:pt>
                <c:pt idx="7">
                  <c:v>0.13425471229470909</c:v>
                </c:pt>
                <c:pt idx="8">
                  <c:v>0.32909591222530005</c:v>
                </c:pt>
                <c:pt idx="9">
                  <c:v>0.10836522028352404</c:v>
                </c:pt>
                <c:pt idx="10">
                  <c:v>9.28176975723109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896502549652692E-2</c:v>
                </c:pt>
                <c:pt idx="6">
                  <c:v>1.726077346311387E-2</c:v>
                </c:pt>
                <c:pt idx="7">
                  <c:v>1.6311361300978516E-2</c:v>
                </c:pt>
                <c:pt idx="8">
                  <c:v>8.2465150831309508E-2</c:v>
                </c:pt>
                <c:pt idx="9">
                  <c:v>1.140012387078055E-2</c:v>
                </c:pt>
                <c:pt idx="10">
                  <c:v>8.3803854922597388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301E-2</c:v>
                </c:pt>
                <c:pt idx="6">
                  <c:v>0.10564996279910281</c:v>
                </c:pt>
                <c:pt idx="7">
                  <c:v>0.20914003576282764</c:v>
                </c:pt>
                <c:pt idx="8">
                  <c:v>0.18189208301942125</c:v>
                </c:pt>
                <c:pt idx="9">
                  <c:v>5.0891551137366327E-2</c:v>
                </c:pt>
                <c:pt idx="10">
                  <c:v>0.243116222782500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974831059355E-2</c:v>
                </c:pt>
                <c:pt idx="1">
                  <c:v>1.5471007476381237E-2</c:v>
                </c:pt>
                <c:pt idx="2">
                  <c:v>2.8116529382288598E-2</c:v>
                </c:pt>
                <c:pt idx="3">
                  <c:v>6.0924029525371806E-2</c:v>
                </c:pt>
                <c:pt idx="4">
                  <c:v>9.3187425528592355E-2</c:v>
                </c:pt>
                <c:pt idx="5">
                  <c:v>9.3289653501717223E-2</c:v>
                </c:pt>
                <c:pt idx="6">
                  <c:v>0.10624332582688127</c:v>
                </c:pt>
                <c:pt idx="7">
                  <c:v>0.17288833054716357</c:v>
                </c:pt>
                <c:pt idx="8">
                  <c:v>0.17090235363397566</c:v>
                </c:pt>
                <c:pt idx="9">
                  <c:v>0.13659252312310796</c:v>
                </c:pt>
                <c:pt idx="10">
                  <c:v>5.82150731439268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6185465938068154E-4</c:v>
                </c:pt>
                <c:pt idx="8">
                  <c:v>1.064244743802032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51E-2</c:v>
                </c:pt>
                <c:pt idx="5">
                  <c:v>0.10756737889583758</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3.7298040148804625E-3</c:v>
                </c:pt>
                <c:pt idx="8">
                  <c:v>1.297550588120280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E-2</c:v>
                </c:pt>
                <c:pt idx="5">
                  <c:v>8.1603425497824303E-2</c:v>
                </c:pt>
                <c:pt idx="6">
                  <c:v>0.1229698551242565</c:v>
                </c:pt>
                <c:pt idx="7">
                  <c:v>0.20932020763186437</c:v>
                </c:pt>
                <c:pt idx="8">
                  <c:v>0.14848773889644468</c:v>
                </c:pt>
                <c:pt idx="9">
                  <c:v>0.13344545786542822</c:v>
                </c:pt>
                <c:pt idx="10">
                  <c:v>0.1593202145551093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6.7741101620392009E-4</c:v>
                </c:pt>
                <c:pt idx="7">
                  <c:v>1.1066114815078863E-3</c:v>
                </c:pt>
                <c:pt idx="8">
                  <c:v>1.2830687066825287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91E-2</c:v>
                </c:pt>
                <c:pt idx="2">
                  <c:v>1.0825272627964894E-2</c:v>
                </c:pt>
                <c:pt idx="3">
                  <c:v>1.3085022230190355E-2</c:v>
                </c:pt>
                <c:pt idx="4">
                  <c:v>2.27156576849857E-2</c:v>
                </c:pt>
                <c:pt idx="5">
                  <c:v>0.15241475836441309</c:v>
                </c:pt>
                <c:pt idx="6">
                  <c:v>0.1326046133269136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4</c:v>
                </c:pt>
                <c:pt idx="10">
                  <c:v>6.439327363122094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4</c:v>
                </c:pt>
                <c:pt idx="9">
                  <c:v>0.13202397008973618</c:v>
                </c:pt>
                <c:pt idx="10">
                  <c:v>6.87864678492081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9110315560819372E-3</c:v>
                </c:pt>
                <c:pt idx="6">
                  <c:v>1.6316665628085386E-3</c:v>
                </c:pt>
                <c:pt idx="7">
                  <c:v>1.7013693590435469E-3</c:v>
                </c:pt>
                <c:pt idx="8">
                  <c:v>6.6863513202708022E-3</c:v>
                </c:pt>
                <c:pt idx="9">
                  <c:v>7.6960407521445978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8E-2</c:v>
                </c:pt>
                <c:pt idx="4">
                  <c:v>5.2557201124251982E-2</c:v>
                </c:pt>
                <c:pt idx="5">
                  <c:v>6.3701696813513009E-2</c:v>
                </c:pt>
                <c:pt idx="6">
                  <c:v>0.13085829476746524</c:v>
                </c:pt>
                <c:pt idx="7">
                  <c:v>0.17790741654622319</c:v>
                </c:pt>
                <c:pt idx="8">
                  <c:v>0.38182493017031222</c:v>
                </c:pt>
                <c:pt idx="9">
                  <c:v>7.1585046101095867E-2</c:v>
                </c:pt>
                <c:pt idx="10">
                  <c:v>2.83020879701327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9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14E-2</c:v>
                </c:pt>
                <c:pt idx="4">
                  <c:v>7.3599001227352384E-2</c:v>
                </c:pt>
                <c:pt idx="5">
                  <c:v>0.21666215265832334</c:v>
                </c:pt>
                <c:pt idx="6">
                  <c:v>0.35850197330543987</c:v>
                </c:pt>
                <c:pt idx="7">
                  <c:v>0.11680761238296966</c:v>
                </c:pt>
                <c:pt idx="8">
                  <c:v>4.7250813869102577E-2</c:v>
                </c:pt>
                <c:pt idx="9">
                  <c:v>2.29888518105873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2E-2</c:v>
                </c:pt>
                <c:pt idx="8">
                  <c:v>9.8827159824716446E-2</c:v>
                </c:pt>
                <c:pt idx="9">
                  <c:v>1.32518468488086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8248935620394E-2</c:v>
                </c:pt>
                <c:pt idx="1">
                  <c:v>1.625320005116317E-2</c:v>
                </c:pt>
                <c:pt idx="2">
                  <c:v>2.1270985884982808E-2</c:v>
                </c:pt>
                <c:pt idx="3">
                  <c:v>3.9448936569282715E-2</c:v>
                </c:pt>
                <c:pt idx="4">
                  <c:v>5.1569641955082006E-2</c:v>
                </c:pt>
                <c:pt idx="5">
                  <c:v>0.10247762175383172</c:v>
                </c:pt>
                <c:pt idx="6">
                  <c:v>0.13074313124652509</c:v>
                </c:pt>
                <c:pt idx="7">
                  <c:v>0.1778504929039384</c:v>
                </c:pt>
                <c:pt idx="8">
                  <c:v>0.25637711642589039</c:v>
                </c:pt>
                <c:pt idx="9">
                  <c:v>0.10345857949612594</c:v>
                </c:pt>
                <c:pt idx="10">
                  <c:v>8.176204477755734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2E-2</c:v>
                </c:pt>
                <c:pt idx="3">
                  <c:v>3.8435745481682639E-2</c:v>
                </c:pt>
                <c:pt idx="4">
                  <c:v>9.221361436269071E-2</c:v>
                </c:pt>
                <c:pt idx="5">
                  <c:v>0.23543198442819938</c:v>
                </c:pt>
                <c:pt idx="6">
                  <c:v>0.18117729862300258</c:v>
                </c:pt>
                <c:pt idx="7">
                  <c:v>0.20368518910803782</c:v>
                </c:pt>
                <c:pt idx="8">
                  <c:v>9.7217979514334779E-2</c:v>
                </c:pt>
                <c:pt idx="9">
                  <c:v>2.85902206518969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8331266352525</c:v>
                </c:pt>
                <c:pt idx="1">
                  <c:v>1.2898740235923686E-2</c:v>
                </c:pt>
                <c:pt idx="2">
                  <c:v>1.7945797245864717E-2</c:v>
                </c:pt>
                <c:pt idx="3">
                  <c:v>2.9439778517212502E-2</c:v>
                </c:pt>
                <c:pt idx="4">
                  <c:v>9.6515302301864808E-2</c:v>
                </c:pt>
                <c:pt idx="5">
                  <c:v>8.4406928367194101E-2</c:v>
                </c:pt>
                <c:pt idx="6">
                  <c:v>0.18499548315225822</c:v>
                </c:pt>
                <c:pt idx="7">
                  <c:v>0.25423962509260389</c:v>
                </c:pt>
                <c:pt idx="8">
                  <c:v>0.10017514101023534</c:v>
                </c:pt>
                <c:pt idx="9">
                  <c:v>2.0524173093343596E-2</c:v>
                </c:pt>
                <c:pt idx="10">
                  <c:v>3.875718319973872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34E-2</c:v>
                </c:pt>
                <c:pt idx="5">
                  <c:v>0.11494751174683011</c:v>
                </c:pt>
                <c:pt idx="6">
                  <c:v>0.17365993639694649</c:v>
                </c:pt>
                <c:pt idx="7">
                  <c:v>0.17952376942204418</c:v>
                </c:pt>
                <c:pt idx="8">
                  <c:v>8.2893600058558198E-2</c:v>
                </c:pt>
                <c:pt idx="9">
                  <c:v>1.0852694598812915E-2</c:v>
                </c:pt>
                <c:pt idx="10">
                  <c:v>7.801829960868735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44784079699287</c:v>
                </c:pt>
                <c:pt idx="1">
                  <c:v>8.6392287917828828E-3</c:v>
                </c:pt>
                <c:pt idx="2">
                  <c:v>7.0227379730336608E-3</c:v>
                </c:pt>
                <c:pt idx="3">
                  <c:v>2.7032315135339206E-2</c:v>
                </c:pt>
                <c:pt idx="4">
                  <c:v>9.96247835885887E-2</c:v>
                </c:pt>
                <c:pt idx="5">
                  <c:v>8.0920570595953006E-2</c:v>
                </c:pt>
                <c:pt idx="6">
                  <c:v>0.20955945736429468</c:v>
                </c:pt>
                <c:pt idx="7">
                  <c:v>0.23817842059258379</c:v>
                </c:pt>
                <c:pt idx="8">
                  <c:v>0.13772118601552835</c:v>
                </c:pt>
                <c:pt idx="9">
                  <c:v>6.568136875285141E-2</c:v>
                </c:pt>
                <c:pt idx="10">
                  <c:v>1.417209039305146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5950500144816132E-3</c:v>
                </c:pt>
                <c:pt idx="3">
                  <c:v>6.2333849229110944E-4</c:v>
                </c:pt>
                <c:pt idx="5">
                  <c:v>1.7076344744566142E-3</c:v>
                </c:pt>
                <c:pt idx="6">
                  <c:v>1.3050492529639898E-3</c:v>
                </c:pt>
                <c:pt idx="7">
                  <c:v>3.7376075122069301E-3</c:v>
                </c:pt>
                <c:pt idx="8">
                  <c:v>4.400884295346179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4.5439890486952397E-3</c:v>
                </c:pt>
                <c:pt idx="3">
                  <c:v>1.0914792650602583E-3</c:v>
                </c:pt>
                <c:pt idx="4">
                  <c:v>7.4756575465424139E-4</c:v>
                </c:pt>
                <c:pt idx="5">
                  <c:v>2.9901051262225236E-3</c:v>
                </c:pt>
                <c:pt idx="6">
                  <c:v>2.285169642351142E-3</c:v>
                </c:pt>
                <c:pt idx="7">
                  <c:v>6.5446320914866844E-3</c:v>
                </c:pt>
                <c:pt idx="8">
                  <c:v>7.706044172956959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62</c:v>
                </c:pt>
                <c:pt idx="8">
                  <c:v>0.20795372780999541</c:v>
                </c:pt>
                <c:pt idx="9">
                  <c:v>0.13703616353638809</c:v>
                </c:pt>
                <c:pt idx="10">
                  <c:v>2.6717687349304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8848811065502098E-3</c:v>
                </c:pt>
                <c:pt idx="3">
                  <c:v>4.5041711297573537E-3</c:v>
                </c:pt>
                <c:pt idx="4">
                  <c:v>8.0022391179891315E-4</c:v>
                </c:pt>
                <c:pt idx="5">
                  <c:v>3.2043831717822372E-3</c:v>
                </c:pt>
                <c:pt idx="6">
                  <c:v>2.846086397167409E-3</c:v>
                </c:pt>
                <c:pt idx="7">
                  <c:v>7.7798020967602037E-3</c:v>
                </c:pt>
                <c:pt idx="8">
                  <c:v>7.2113753405669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188913803921E-2</c:v>
                </c:pt>
                <c:pt idx="1">
                  <c:v>1.0611634200708155E-2</c:v>
                </c:pt>
                <c:pt idx="2">
                  <c:v>1.7191212706328902E-2</c:v>
                </c:pt>
                <c:pt idx="3">
                  <c:v>6.6578812746713373E-2</c:v>
                </c:pt>
                <c:pt idx="4">
                  <c:v>4.927328215654455E-2</c:v>
                </c:pt>
                <c:pt idx="5">
                  <c:v>0.11854085069659605</c:v>
                </c:pt>
                <c:pt idx="6">
                  <c:v>0.13211262069559299</c:v>
                </c:pt>
                <c:pt idx="7">
                  <c:v>0.17977269388689268</c:v>
                </c:pt>
                <c:pt idx="8">
                  <c:v>0.23087809969636761</c:v>
                </c:pt>
                <c:pt idx="9">
                  <c:v>0.10988083240827315</c:v>
                </c:pt>
                <c:pt idx="10">
                  <c:v>6.863807166794330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2967811921920335E-3</c:v>
                </c:pt>
                <c:pt idx="2">
                  <c:v>4.0954539672809799E-3</c:v>
                </c:pt>
                <c:pt idx="5">
                  <c:v>4.9619949674433103E-3</c:v>
                </c:pt>
                <c:pt idx="6">
                  <c:v>3.8113466674709437E-3</c:v>
                </c:pt>
                <c:pt idx="7">
                  <c:v>6.3917691874754304E-3</c:v>
                </c:pt>
                <c:pt idx="8">
                  <c:v>8.22345642633344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7E-2</c:v>
                </c:pt>
                <c:pt idx="7">
                  <c:v>0.12812039009766801</c:v>
                </c:pt>
                <c:pt idx="8">
                  <c:v>0.22102038676692065</c:v>
                </c:pt>
                <c:pt idx="9">
                  <c:v>7.438768929166038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66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496E-2</c:v>
                </c:pt>
                <c:pt idx="1">
                  <c:v>2.762093286417321E-2</c:v>
                </c:pt>
                <c:pt idx="2">
                  <c:v>3.321975086399976E-2</c:v>
                </c:pt>
                <c:pt idx="3">
                  <c:v>5.0673883901639502E-2</c:v>
                </c:pt>
                <c:pt idx="4">
                  <c:v>8.0498478937970977E-2</c:v>
                </c:pt>
                <c:pt idx="5">
                  <c:v>0.11300954238676618</c:v>
                </c:pt>
                <c:pt idx="6">
                  <c:v>0.13054828460312656</c:v>
                </c:pt>
                <c:pt idx="7">
                  <c:v>0.16999688993527617</c:v>
                </c:pt>
                <c:pt idx="8">
                  <c:v>0.17596357403605911</c:v>
                </c:pt>
                <c:pt idx="9">
                  <c:v>0.1247508482589552</c:v>
                </c:pt>
                <c:pt idx="10">
                  <c:v>2.30206666653028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597465735164769E-3</c:v>
                </c:pt>
                <c:pt idx="2">
                  <c:v>2.9168365172154057E-2</c:v>
                </c:pt>
                <c:pt idx="3">
                  <c:v>3.1453681444016668E-3</c:v>
                </c:pt>
                <c:pt idx="4">
                  <c:v>1.5735665051344716E-2</c:v>
                </c:pt>
                <c:pt idx="5">
                  <c:v>1.4067589267378135E-2</c:v>
                </c:pt>
                <c:pt idx="6">
                  <c:v>3.4514891105569899E-2</c:v>
                </c:pt>
                <c:pt idx="7">
                  <c:v>0.16517909111599685</c:v>
                </c:pt>
                <c:pt idx="8">
                  <c:v>0.21716158558225279</c:v>
                </c:pt>
                <c:pt idx="9">
                  <c:v>0.21383677043095903</c:v>
                </c:pt>
                <c:pt idx="10">
                  <c:v>0.302940357624733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551825169099855E-3</c:v>
                </c:pt>
                <c:pt idx="1">
                  <c:v>1.1268512829684938E-3</c:v>
                </c:pt>
                <c:pt idx="2">
                  <c:v>3.8703371073333062E-2</c:v>
                </c:pt>
                <c:pt idx="3">
                  <c:v>1.0655250804924096E-2</c:v>
                </c:pt>
                <c:pt idx="4">
                  <c:v>8.443658709353704E-3</c:v>
                </c:pt>
                <c:pt idx="5">
                  <c:v>1.0672400633581458E-2</c:v>
                </c:pt>
                <c:pt idx="6">
                  <c:v>7.6999872366786709E-2</c:v>
                </c:pt>
                <c:pt idx="7">
                  <c:v>0.17887076019304027</c:v>
                </c:pt>
                <c:pt idx="8">
                  <c:v>0.22096490143235031</c:v>
                </c:pt>
                <c:pt idx="9">
                  <c:v>0.24223439627367618</c:v>
                </c:pt>
                <c:pt idx="10">
                  <c:v>0.2055733547130757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8248935620394E-2</c:v>
                </c:pt>
                <c:pt idx="1">
                  <c:v>1.625320005116317E-2</c:v>
                </c:pt>
                <c:pt idx="2">
                  <c:v>2.1270985884982808E-2</c:v>
                </c:pt>
                <c:pt idx="3">
                  <c:v>3.9448936569282715E-2</c:v>
                </c:pt>
                <c:pt idx="4">
                  <c:v>5.1569641955082006E-2</c:v>
                </c:pt>
                <c:pt idx="5">
                  <c:v>0.10247762175383172</c:v>
                </c:pt>
                <c:pt idx="6">
                  <c:v>0.13074313124652509</c:v>
                </c:pt>
                <c:pt idx="7">
                  <c:v>0.1778504929039384</c:v>
                </c:pt>
                <c:pt idx="8">
                  <c:v>0.25637711642589039</c:v>
                </c:pt>
                <c:pt idx="9">
                  <c:v>0.10345857949612594</c:v>
                </c:pt>
                <c:pt idx="10">
                  <c:v>8.176204477755734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0008626125500261E-2</c:v>
                </c:pt>
                <c:pt idx="4">
                  <c:v>1.6753006961716E-3</c:v>
                </c:pt>
                <c:pt idx="5">
                  <c:v>7.5117272869787656E-3</c:v>
                </c:pt>
                <c:pt idx="6">
                  <c:v>2.8290096108945081E-3</c:v>
                </c:pt>
                <c:pt idx="7">
                  <c:v>7.196062099894999E-3</c:v>
                </c:pt>
                <c:pt idx="8">
                  <c:v>3.004117907300123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62</c:v>
                </c:pt>
                <c:pt idx="8">
                  <c:v>0.20795372780999541</c:v>
                </c:pt>
                <c:pt idx="9">
                  <c:v>0.13703616353638809</c:v>
                </c:pt>
                <c:pt idx="10">
                  <c:v>2.6717687349304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3943019083519984E-3</c:v>
                </c:pt>
                <c:pt idx="3">
                  <c:v>2.7759782695379711E-3</c:v>
                </c:pt>
                <c:pt idx="5">
                  <c:v>1.9749023285045237E-3</c:v>
                </c:pt>
                <c:pt idx="6">
                  <c:v>1.754079444177327E-3</c:v>
                </c:pt>
                <c:pt idx="7">
                  <c:v>4.7947915254000807E-3</c:v>
                </c:pt>
                <c:pt idx="8">
                  <c:v>4.444462846147310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687721138806102E-2</c:v>
                </c:pt>
                <c:pt idx="4">
                  <c:v>4.1377809660183397E-3</c:v>
                </c:pt>
                <c:pt idx="5">
                  <c:v>5.7693051247716251E-3</c:v>
                </c:pt>
                <c:pt idx="6">
                  <c:v>2.8979991016709087E-3</c:v>
                </c:pt>
                <c:pt idx="7">
                  <c:v>6.704058442431768E-3</c:v>
                </c:pt>
                <c:pt idx="8">
                  <c:v>2.0856655822744283E-3</c:v>
                </c:pt>
                <c:pt idx="9">
                  <c:v>1.870774705620196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188913803921E-2</c:v>
                </c:pt>
                <c:pt idx="1">
                  <c:v>1.0611634200708155E-2</c:v>
                </c:pt>
                <c:pt idx="2">
                  <c:v>1.7191212706328902E-2</c:v>
                </c:pt>
                <c:pt idx="3">
                  <c:v>6.6578812746713373E-2</c:v>
                </c:pt>
                <c:pt idx="4">
                  <c:v>4.927328215654455E-2</c:v>
                </c:pt>
                <c:pt idx="5">
                  <c:v>0.11854085069659605</c:v>
                </c:pt>
                <c:pt idx="6">
                  <c:v>0.13211262069559299</c:v>
                </c:pt>
                <c:pt idx="7">
                  <c:v>0.17977269388689268</c:v>
                </c:pt>
                <c:pt idx="8">
                  <c:v>0.23087809969636761</c:v>
                </c:pt>
                <c:pt idx="9">
                  <c:v>0.10988083240827315</c:v>
                </c:pt>
                <c:pt idx="10">
                  <c:v>6.863807166794330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234069967889679E-4</c:v>
                </c:pt>
                <c:pt idx="2">
                  <c:v>2.0940103477810343E-3</c:v>
                </c:pt>
                <c:pt idx="3">
                  <c:v>1.0536030244100283E-2</c:v>
                </c:pt>
                <c:pt idx="4">
                  <c:v>6.1143332852576573E-3</c:v>
                </c:pt>
                <c:pt idx="5">
                  <c:v>4.6370125344572166E-3</c:v>
                </c:pt>
                <c:pt idx="6">
                  <c:v>1.3917748991098035E-3</c:v>
                </c:pt>
                <c:pt idx="7">
                  <c:v>1.2057357529448601E-2</c:v>
                </c:pt>
                <c:pt idx="8">
                  <c:v>1.866892466496313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7E-2</c:v>
                </c:pt>
                <c:pt idx="7">
                  <c:v>0.12812039009766801</c:v>
                </c:pt>
                <c:pt idx="8">
                  <c:v>0.22102038676692065</c:v>
                </c:pt>
                <c:pt idx="9">
                  <c:v>7.438768929166038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66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597465735164769E-3</c:v>
                </c:pt>
                <c:pt idx="2">
                  <c:v>2.9168365172154057E-2</c:v>
                </c:pt>
                <c:pt idx="3">
                  <c:v>3.1453681444016668E-3</c:v>
                </c:pt>
                <c:pt idx="4">
                  <c:v>1.5735665051344716E-2</c:v>
                </c:pt>
                <c:pt idx="5">
                  <c:v>1.4067589267378135E-2</c:v>
                </c:pt>
                <c:pt idx="6">
                  <c:v>3.4514891105569899E-2</c:v>
                </c:pt>
                <c:pt idx="7">
                  <c:v>0.16517909111599685</c:v>
                </c:pt>
                <c:pt idx="8">
                  <c:v>0.21716158558225279</c:v>
                </c:pt>
                <c:pt idx="9">
                  <c:v>0.21383677043095903</c:v>
                </c:pt>
                <c:pt idx="10">
                  <c:v>0.302940357624733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974831059355E-2</c:v>
                </c:pt>
                <c:pt idx="1">
                  <c:v>1.5471007476381237E-2</c:v>
                </c:pt>
                <c:pt idx="2">
                  <c:v>2.8116529382288598E-2</c:v>
                </c:pt>
                <c:pt idx="3">
                  <c:v>6.0924029525371806E-2</c:v>
                </c:pt>
                <c:pt idx="4">
                  <c:v>9.3187425528592355E-2</c:v>
                </c:pt>
                <c:pt idx="5">
                  <c:v>9.3289653501717223E-2</c:v>
                </c:pt>
                <c:pt idx="6">
                  <c:v>0.10624332582688127</c:v>
                </c:pt>
                <c:pt idx="7">
                  <c:v>0.17288833054716357</c:v>
                </c:pt>
                <c:pt idx="8">
                  <c:v>0.17090235363397566</c:v>
                </c:pt>
                <c:pt idx="9">
                  <c:v>0.13659252312310796</c:v>
                </c:pt>
                <c:pt idx="10">
                  <c:v>5.82150731439268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8924672635528429E-3</c:v>
                </c:pt>
                <c:pt idx="9">
                  <c:v>3.561472989503588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3117914288242588E-3</c:v>
                </c:pt>
                <c:pt idx="9">
                  <c:v>9.02657475903552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551825169099855E-3</c:v>
                </c:pt>
                <c:pt idx="1">
                  <c:v>1.1268512829684938E-3</c:v>
                </c:pt>
                <c:pt idx="2">
                  <c:v>3.8703371073333062E-2</c:v>
                </c:pt>
                <c:pt idx="3">
                  <c:v>1.0655250804924096E-2</c:v>
                </c:pt>
                <c:pt idx="4">
                  <c:v>8.443658709353704E-3</c:v>
                </c:pt>
                <c:pt idx="5">
                  <c:v>1.0672400633581458E-2</c:v>
                </c:pt>
                <c:pt idx="6">
                  <c:v>7.6999872366786709E-2</c:v>
                </c:pt>
                <c:pt idx="7">
                  <c:v>0.17887076019304027</c:v>
                </c:pt>
                <c:pt idx="8">
                  <c:v>0.22096490143235031</c:v>
                </c:pt>
                <c:pt idx="9">
                  <c:v>0.24223439627367618</c:v>
                </c:pt>
                <c:pt idx="10">
                  <c:v>0.2055733547130757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8248935620394E-2</c:v>
                </c:pt>
                <c:pt idx="1">
                  <c:v>1.625320005116317E-2</c:v>
                </c:pt>
                <c:pt idx="2">
                  <c:v>2.1270985884982808E-2</c:v>
                </c:pt>
                <c:pt idx="3">
                  <c:v>3.9448936569282715E-2</c:v>
                </c:pt>
                <c:pt idx="4">
                  <c:v>5.1569641955082006E-2</c:v>
                </c:pt>
                <c:pt idx="5">
                  <c:v>0.10247762175383172</c:v>
                </c:pt>
                <c:pt idx="6">
                  <c:v>0.13074313124652509</c:v>
                </c:pt>
                <c:pt idx="7">
                  <c:v>0.1778504929039384</c:v>
                </c:pt>
                <c:pt idx="8">
                  <c:v>0.25637711642589039</c:v>
                </c:pt>
                <c:pt idx="9">
                  <c:v>0.10345857949612594</c:v>
                </c:pt>
                <c:pt idx="10">
                  <c:v>8.176204477755734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2985707944666272E-3</c:v>
                </c:pt>
                <c:pt idx="6">
                  <c:v>1.7245101921208505E-3</c:v>
                </c:pt>
                <c:pt idx="7">
                  <c:v>3.5791279967986884E-3</c:v>
                </c:pt>
                <c:pt idx="8">
                  <c:v>1.0563154350524996E-2</c:v>
                </c:pt>
                <c:pt idx="9">
                  <c:v>1.091774553118907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62</c:v>
                </c:pt>
                <c:pt idx="8">
                  <c:v>0.20795372780999541</c:v>
                </c:pt>
                <c:pt idx="9">
                  <c:v>0.13703616353638809</c:v>
                </c:pt>
                <c:pt idx="10">
                  <c:v>2.6717687349304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6.502139779190402E-4</c:v>
                </c:pt>
                <c:pt idx="6">
                  <c:v>2.4618690465788855E-3</c:v>
                </c:pt>
                <c:pt idx="7">
                  <c:v>7.1745509500708649E-3</c:v>
                </c:pt>
                <c:pt idx="8">
                  <c:v>8.5914969433410551E-3</c:v>
                </c:pt>
                <c:pt idx="9">
                  <c:v>1.33350776256455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188913803921E-2</c:v>
                </c:pt>
                <c:pt idx="1">
                  <c:v>1.0611634200708155E-2</c:v>
                </c:pt>
                <c:pt idx="2">
                  <c:v>1.7191212706328902E-2</c:v>
                </c:pt>
                <c:pt idx="3">
                  <c:v>6.6578812746713373E-2</c:v>
                </c:pt>
                <c:pt idx="4">
                  <c:v>4.927328215654455E-2</c:v>
                </c:pt>
                <c:pt idx="5">
                  <c:v>0.11854085069659605</c:v>
                </c:pt>
                <c:pt idx="6">
                  <c:v>0.13211262069559299</c:v>
                </c:pt>
                <c:pt idx="7">
                  <c:v>0.17977269388689268</c:v>
                </c:pt>
                <c:pt idx="8">
                  <c:v>0.23087809969636761</c:v>
                </c:pt>
                <c:pt idx="9">
                  <c:v>0.10988083240827315</c:v>
                </c:pt>
                <c:pt idx="10">
                  <c:v>6.863807166794330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9.3857058221585713E-4</c:v>
                </c:pt>
                <c:pt idx="2">
                  <c:v>1.67359112290561E-3</c:v>
                </c:pt>
                <c:pt idx="5">
                  <c:v>2.0276996874485178E-3</c:v>
                </c:pt>
                <c:pt idx="6">
                  <c:v>1.5574917945494827E-3</c:v>
                </c:pt>
                <c:pt idx="7">
                  <c:v>2.6119712875011234E-3</c:v>
                </c:pt>
                <c:pt idx="8">
                  <c:v>3.36048305869494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1330253190040382E-3</c:v>
                </c:pt>
                <c:pt idx="6">
                  <c:v>2.9960886675650176E-3</c:v>
                </c:pt>
                <c:pt idx="7">
                  <c:v>2.9308664975152381E-3</c:v>
                </c:pt>
                <c:pt idx="8">
                  <c:v>1.6362206793792789E-2</c:v>
                </c:pt>
                <c:pt idx="9">
                  <c:v>1.883302331097769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7E-2</c:v>
                </c:pt>
                <c:pt idx="7">
                  <c:v>0.12812039009766801</c:v>
                </c:pt>
                <c:pt idx="8">
                  <c:v>0.22102038676692065</c:v>
                </c:pt>
                <c:pt idx="9">
                  <c:v>7.438768929166038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4379100484128458E-2</c:v>
                </c:pt>
                <c:pt idx="6">
                  <c:v>2.79180170384397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66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6462490913729043E-3</c:v>
                </c:pt>
                <c:pt idx="5">
                  <c:v>6.3878383003740671E-2</c:v>
                </c:pt>
                <c:pt idx="6">
                  <c:v>2.866358095839938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9.709188742891893E-2</c:v>
                </c:pt>
                <c:pt idx="6">
                  <c:v>1.503311817291936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597465735164769E-3</c:v>
                </c:pt>
                <c:pt idx="2">
                  <c:v>2.9168365172154057E-2</c:v>
                </c:pt>
                <c:pt idx="3">
                  <c:v>3.1453681444016668E-3</c:v>
                </c:pt>
                <c:pt idx="4">
                  <c:v>1.5735665051344716E-2</c:v>
                </c:pt>
                <c:pt idx="5">
                  <c:v>1.4067589267378135E-2</c:v>
                </c:pt>
                <c:pt idx="6">
                  <c:v>3.4514891105569899E-2</c:v>
                </c:pt>
                <c:pt idx="7">
                  <c:v>0.16517909111599685</c:v>
                </c:pt>
                <c:pt idx="8">
                  <c:v>0.21716158558225279</c:v>
                </c:pt>
                <c:pt idx="9">
                  <c:v>0.21383677043095903</c:v>
                </c:pt>
                <c:pt idx="10">
                  <c:v>0.302940357624733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813256639094480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7901001157398E-2</c:v>
                </c:pt>
                <c:pt idx="1">
                  <c:v>1.6357704156459721E-2</c:v>
                </c:pt>
                <c:pt idx="2">
                  <c:v>2.8302490935711529E-2</c:v>
                </c:pt>
                <c:pt idx="3">
                  <c:v>4.2301193686235687E-2</c:v>
                </c:pt>
                <c:pt idx="4">
                  <c:v>8.7005975729223459E-2</c:v>
                </c:pt>
                <c:pt idx="5">
                  <c:v>9.6086658000910513E-2</c:v>
                </c:pt>
                <c:pt idx="6">
                  <c:v>0.11481564554959318</c:v>
                </c:pt>
                <c:pt idx="7">
                  <c:v>0.16444298417770556</c:v>
                </c:pt>
                <c:pt idx="8">
                  <c:v>0.2120085005494714</c:v>
                </c:pt>
                <c:pt idx="9">
                  <c:v>0.11609744764373198</c:v>
                </c:pt>
                <c:pt idx="10">
                  <c:v>6.050349856979948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5803649719760638E-3</c:v>
                </c:pt>
                <c:pt idx="7">
                  <c:v>1.731393129222696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551825169099855E-3</c:v>
                </c:pt>
                <c:pt idx="1">
                  <c:v>1.1268512829684938E-3</c:v>
                </c:pt>
                <c:pt idx="2">
                  <c:v>3.8703371073333062E-2</c:v>
                </c:pt>
                <c:pt idx="3">
                  <c:v>1.0655250804924096E-2</c:v>
                </c:pt>
                <c:pt idx="4">
                  <c:v>8.443658709353704E-3</c:v>
                </c:pt>
                <c:pt idx="5">
                  <c:v>1.0672400633581458E-2</c:v>
                </c:pt>
                <c:pt idx="6">
                  <c:v>7.6999872366786709E-2</c:v>
                </c:pt>
                <c:pt idx="7">
                  <c:v>0.17887076019304027</c:v>
                </c:pt>
                <c:pt idx="8">
                  <c:v>0.22096490143235031</c:v>
                </c:pt>
                <c:pt idx="9">
                  <c:v>0.24223439627367618</c:v>
                </c:pt>
                <c:pt idx="10">
                  <c:v>0.2055733547130757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2.006187522339349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7256199349716392E-2</c:v>
                </c:pt>
                <c:pt idx="3">
                  <c:v>8.9490464544238445E-3</c:v>
                </c:pt>
                <c:pt idx="4">
                  <c:v>6.129297074432178E-3</c:v>
                </c:pt>
                <c:pt idx="5">
                  <c:v>2.4515893736835173E-2</c:v>
                </c:pt>
                <c:pt idx="6">
                  <c:v>1.5661540441294683E-2</c:v>
                </c:pt>
                <c:pt idx="7">
                  <c:v>5.1338440136598447E-2</c:v>
                </c:pt>
                <c:pt idx="8">
                  <c:v>5.778867381508910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743646429186058E-2</c:v>
                </c:pt>
                <c:pt idx="3">
                  <c:v>3.564450001734381E-2</c:v>
                </c:pt>
                <c:pt idx="4">
                  <c:v>6.3327037131317649E-3</c:v>
                </c:pt>
                <c:pt idx="5">
                  <c:v>2.5358413952695731E-2</c:v>
                </c:pt>
                <c:pt idx="6">
                  <c:v>1.714739853104838E-2</c:v>
                </c:pt>
                <c:pt idx="7">
                  <c:v>5.4161420006419936E-2</c:v>
                </c:pt>
                <c:pt idx="8">
                  <c:v>5.324888805616224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4718342014114258E-4</c:v>
                </c:pt>
                <c:pt idx="1">
                  <c:v>1.7339094554510329E-2</c:v>
                </c:pt>
                <c:pt idx="2">
                  <c:v>3.0917818303169083E-2</c:v>
                </c:pt>
                <c:pt idx="5">
                  <c:v>3.7265307107165531E-2</c:v>
                </c:pt>
                <c:pt idx="6">
                  <c:v>2.8448033461384293E-2</c:v>
                </c:pt>
                <c:pt idx="7">
                  <c:v>4.4328122572103452E-2</c:v>
                </c:pt>
                <c:pt idx="8">
                  <c:v>5.5989035289387354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29E-2</c:v>
                </c:pt>
                <c:pt idx="6">
                  <c:v>0.14927955263464024</c:v>
                </c:pt>
                <c:pt idx="7">
                  <c:v>0.13229106377391028</c:v>
                </c:pt>
                <c:pt idx="8">
                  <c:v>0.31299472077907148</c:v>
                </c:pt>
                <c:pt idx="9">
                  <c:v>0.14351243301228028</c:v>
                </c:pt>
                <c:pt idx="10">
                  <c:v>0.113249018585458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5.7158776338552915E-3</c:v>
                </c:pt>
                <c:pt idx="4">
                  <c:v>9.5675606813126117E-4</c:v>
                </c:pt>
                <c:pt idx="5">
                  <c:v>4.2899108681728627E-3</c:v>
                </c:pt>
                <c:pt idx="6">
                  <c:v>1.6244894625011563E-3</c:v>
                </c:pt>
                <c:pt idx="7">
                  <c:v>4.216145629764927E-3</c:v>
                </c:pt>
                <c:pt idx="8">
                  <c:v>1.7156371054816149E-3</c:v>
                </c:pt>
                <c:pt idx="9">
                  <c:v>6.4606648922384648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4908400446714014E-3</c:v>
                </c:pt>
                <c:pt idx="7">
                  <c:v>1.8803708507033347E-3</c:v>
                </c:pt>
                <c:pt idx="8">
                  <c:v>4.369274925996972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5806044136491907E-3</c:v>
                </c:pt>
                <c:pt idx="7">
                  <c:v>6.3101836833592551E-3</c:v>
                </c:pt>
                <c:pt idx="8">
                  <c:v>3.25466631360499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73E-3</c:v>
                </c:pt>
                <c:pt idx="3">
                  <c:v>7.5681685289260239E-2</c:v>
                </c:pt>
                <c:pt idx="4">
                  <c:v>2.5426936831280101E-2</c:v>
                </c:pt>
                <c:pt idx="5">
                  <c:v>9.4771840334443316E-2</c:v>
                </c:pt>
                <c:pt idx="6">
                  <c:v>0.12889598069765412</c:v>
                </c:pt>
                <c:pt idx="7">
                  <c:v>0.13425471229470909</c:v>
                </c:pt>
                <c:pt idx="8">
                  <c:v>0.32909591222530005</c:v>
                </c:pt>
                <c:pt idx="9">
                  <c:v>0.10836522028352404</c:v>
                </c:pt>
                <c:pt idx="10">
                  <c:v>9.28176975723109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3.1474044080606668E-3</c:v>
                </c:pt>
                <c:pt idx="8">
                  <c:v>4.885009586371642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301E-2</c:v>
                </c:pt>
                <c:pt idx="6">
                  <c:v>0.10564996279910281</c:v>
                </c:pt>
                <c:pt idx="7">
                  <c:v>0.20914003576282764</c:v>
                </c:pt>
                <c:pt idx="8">
                  <c:v>0.18189208301942125</c:v>
                </c:pt>
                <c:pt idx="9">
                  <c:v>5.0891551137366327E-2</c:v>
                </c:pt>
                <c:pt idx="10">
                  <c:v>0.243116222782500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51E-2</c:v>
                </c:pt>
                <c:pt idx="5">
                  <c:v>0.10756737889583758</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E-2</c:v>
                </c:pt>
                <c:pt idx="5">
                  <c:v>8.1603425497824303E-2</c:v>
                </c:pt>
                <c:pt idx="6">
                  <c:v>0.1229698551242565</c:v>
                </c:pt>
                <c:pt idx="7">
                  <c:v>0.20932020763186437</c:v>
                </c:pt>
                <c:pt idx="8">
                  <c:v>0.14848773889644468</c:v>
                </c:pt>
                <c:pt idx="9">
                  <c:v>0.13344545786542822</c:v>
                </c:pt>
                <c:pt idx="10">
                  <c:v>0.1593202145551093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496E-2</c:v>
                </c:pt>
                <c:pt idx="1">
                  <c:v>2.762093286417321E-2</c:v>
                </c:pt>
                <c:pt idx="2">
                  <c:v>3.321975086399976E-2</c:v>
                </c:pt>
                <c:pt idx="3">
                  <c:v>5.0673883901639502E-2</c:v>
                </c:pt>
                <c:pt idx="4">
                  <c:v>8.0498478937970977E-2</c:v>
                </c:pt>
                <c:pt idx="5">
                  <c:v>0.11300954238676618</c:v>
                </c:pt>
                <c:pt idx="6">
                  <c:v>0.13054828460312656</c:v>
                </c:pt>
                <c:pt idx="7">
                  <c:v>0.16999688993527617</c:v>
                </c:pt>
                <c:pt idx="8">
                  <c:v>0.17596357403605911</c:v>
                </c:pt>
                <c:pt idx="9">
                  <c:v>0.1247508482589552</c:v>
                </c:pt>
                <c:pt idx="10">
                  <c:v>2.30206666653028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91E-2</c:v>
                </c:pt>
                <c:pt idx="2">
                  <c:v>1.0825272627964894E-2</c:v>
                </c:pt>
                <c:pt idx="3">
                  <c:v>1.3085022230190355E-2</c:v>
                </c:pt>
                <c:pt idx="4">
                  <c:v>2.27156576849857E-2</c:v>
                </c:pt>
                <c:pt idx="5">
                  <c:v>0.15241475836441309</c:v>
                </c:pt>
                <c:pt idx="6">
                  <c:v>0.1326046133269136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4</c:v>
                </c:pt>
                <c:pt idx="10">
                  <c:v>6.439327363122094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4</c:v>
                </c:pt>
                <c:pt idx="9">
                  <c:v>0.13202397008973618</c:v>
                </c:pt>
                <c:pt idx="10">
                  <c:v>6.87864678492081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8E-2</c:v>
                </c:pt>
                <c:pt idx="4">
                  <c:v>5.2557201124251982E-2</c:v>
                </c:pt>
                <c:pt idx="5">
                  <c:v>6.3701696813513009E-2</c:v>
                </c:pt>
                <c:pt idx="6">
                  <c:v>0.13085829476746524</c:v>
                </c:pt>
                <c:pt idx="7">
                  <c:v>0.17790741654622319</c:v>
                </c:pt>
                <c:pt idx="8">
                  <c:v>0.38182493017031222</c:v>
                </c:pt>
                <c:pt idx="9">
                  <c:v>7.1585046101095867E-2</c:v>
                </c:pt>
                <c:pt idx="10">
                  <c:v>2.83020879701327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57174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2624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1448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132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907035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180836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92333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30869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8356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14063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09204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986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47790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1251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964336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70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435052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8630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8103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4793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292896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19067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73429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822233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83783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7045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33682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317544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876302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420993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61867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97993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82866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40262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61220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117316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987632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51125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237868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00867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929083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8162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161523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604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830994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750297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71710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153586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81311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93965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78156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048267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5721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713077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7345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89430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123994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14855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334274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33971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179621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293063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73376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01969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90224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9820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5587</Words>
  <Application>Microsoft Office PowerPoint</Application>
  <PresentationFormat>On-screen Show (16:9)</PresentationFormat>
  <Paragraphs>1736</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3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